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13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26A3AC-397B-5730-54E0-75A8B62377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A74655FE-4A57-9DB0-9382-575465327E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74655FE-4A57-9DB0-9382-575465327E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5156766-DEA5-422E-5714-F24CA0F5CE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hecklist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1A30FD61-FB37-989F-D0AF-5DC837F0B90D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" name="Shape1_20211020_181843">
            <a:extLst>
              <a:ext uri="{FF2B5EF4-FFF2-40B4-BE49-F238E27FC236}">
                <a16:creationId xmlns:a16="http://schemas.microsoft.com/office/drawing/2014/main" id="{8759D7D5-9DBD-7FA3-EC13-E67A49EA18D4}"/>
              </a:ext>
            </a:extLst>
          </p:cNvPr>
          <p:cNvSpPr/>
          <p:nvPr/>
        </p:nvSpPr>
        <p:spPr>
          <a:xfrm>
            <a:off x="675603" y="1814281"/>
            <a:ext cx="1701132" cy="3286992"/>
          </a:xfrm>
          <a:custGeom>
            <a:avLst/>
            <a:gdLst>
              <a:gd name="connsiteX0" fmla="*/ 5805 w 1259143"/>
              <a:gd name="connsiteY0" fmla="*/ 0 h 2506678"/>
              <a:gd name="connsiteX1" fmla="*/ 1259143 w 1259143"/>
              <a:gd name="connsiteY1" fmla="*/ 1253339 h 2506678"/>
              <a:gd name="connsiteX2" fmla="*/ 5805 w 1259143"/>
              <a:gd name="connsiteY2" fmla="*/ 2506678 h 2506678"/>
              <a:gd name="connsiteX3" fmla="*/ 0 w 1259143"/>
              <a:gd name="connsiteY3" fmla="*/ 2506385 h 2506678"/>
              <a:gd name="connsiteX4" fmla="*/ 0 w 1259143"/>
              <a:gd name="connsiteY4" fmla="*/ 293 h 2506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59143" h="2506678">
                <a:moveTo>
                  <a:pt x="5805" y="0"/>
                </a:moveTo>
                <a:cubicBezTo>
                  <a:pt x="698004" y="0"/>
                  <a:pt x="1259143" y="561139"/>
                  <a:pt x="1259143" y="1253339"/>
                </a:cubicBezTo>
                <a:cubicBezTo>
                  <a:pt x="1259143" y="1945539"/>
                  <a:pt x="698004" y="2506678"/>
                  <a:pt x="5805" y="2506678"/>
                </a:cubicBezTo>
                <a:lnTo>
                  <a:pt x="0" y="2506385"/>
                </a:lnTo>
                <a:lnTo>
                  <a:pt x="0" y="293"/>
                </a:lnTo>
                <a:close/>
              </a:path>
            </a:pathLst>
          </a:custGeom>
          <a:solidFill>
            <a:srgbClr val="FFFFFF"/>
          </a:solidFill>
          <a:ln w="25400" cap="flat" cmpd="sng" algn="ctr">
            <a:solidFill>
              <a:srgbClr val="195167"/>
            </a:solidFill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defTabSz="625570">
              <a:defRPr/>
            </a:pPr>
            <a:endParaRPr lang="en-US" sz="2400" dirty="0">
              <a:solidFill>
                <a:srgbClr val="005073"/>
              </a:solidFill>
            </a:endParaRP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184C9875-B8F2-F255-B7A7-964B16D19004}"/>
              </a:ext>
            </a:extLst>
          </p:cNvPr>
          <p:cNvSpPr/>
          <p:nvPr/>
        </p:nvSpPr>
        <p:spPr>
          <a:xfrm>
            <a:off x="675606" y="1887723"/>
            <a:ext cx="1625119" cy="3140110"/>
          </a:xfrm>
          <a:custGeom>
            <a:avLst/>
            <a:gdLst>
              <a:gd name="connsiteX0" fmla="*/ 5805 w 1259143"/>
              <a:gd name="connsiteY0" fmla="*/ 0 h 2506678"/>
              <a:gd name="connsiteX1" fmla="*/ 1259143 w 1259143"/>
              <a:gd name="connsiteY1" fmla="*/ 1253339 h 2506678"/>
              <a:gd name="connsiteX2" fmla="*/ 5805 w 1259143"/>
              <a:gd name="connsiteY2" fmla="*/ 2506678 h 2506678"/>
              <a:gd name="connsiteX3" fmla="*/ 0 w 1259143"/>
              <a:gd name="connsiteY3" fmla="*/ 2506385 h 2506678"/>
              <a:gd name="connsiteX4" fmla="*/ 0 w 1259143"/>
              <a:gd name="connsiteY4" fmla="*/ 293 h 2506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59143" h="2506678">
                <a:moveTo>
                  <a:pt x="5805" y="0"/>
                </a:moveTo>
                <a:cubicBezTo>
                  <a:pt x="698004" y="0"/>
                  <a:pt x="1259143" y="561139"/>
                  <a:pt x="1259143" y="1253339"/>
                </a:cubicBezTo>
                <a:cubicBezTo>
                  <a:pt x="1259143" y="1945539"/>
                  <a:pt x="698004" y="2506678"/>
                  <a:pt x="5805" y="2506678"/>
                </a:cubicBezTo>
                <a:lnTo>
                  <a:pt x="0" y="2506385"/>
                </a:lnTo>
                <a:lnTo>
                  <a:pt x="0" y="293"/>
                </a:lnTo>
                <a:close/>
              </a:path>
            </a:pathLst>
          </a:cu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defTabSz="625570">
              <a:defRPr/>
            </a:pPr>
            <a:endParaRPr lang="en-US" sz="2400" dirty="0">
              <a:solidFill>
                <a:srgbClr val="005073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14B44AB5-A902-959F-1B71-188B3ACFD5DB}"/>
              </a:ext>
            </a:extLst>
          </p:cNvPr>
          <p:cNvSpPr/>
          <p:nvPr/>
        </p:nvSpPr>
        <p:spPr>
          <a:xfrm>
            <a:off x="1270560" y="1590821"/>
            <a:ext cx="115671" cy="112271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625570">
              <a:defRPr/>
            </a:pPr>
            <a:endParaRPr lang="en-US" sz="2400" dirty="0">
              <a:solidFill>
                <a:srgbClr val="005073"/>
              </a:solidFill>
            </a:endParaRPr>
          </a:p>
        </p:txBody>
      </p:sp>
      <p:cxnSp>
        <p:nvCxnSpPr>
          <p:cNvPr id="7" name="Shape1_20220517_163352">
            <a:extLst>
              <a:ext uri="{FF2B5EF4-FFF2-40B4-BE49-F238E27FC236}">
                <a16:creationId xmlns:a16="http://schemas.microsoft.com/office/drawing/2014/main" id="{27077A94-BBE1-565C-6D14-9705463F470E}"/>
              </a:ext>
            </a:extLst>
          </p:cNvPr>
          <p:cNvCxnSpPr>
            <a:cxnSpLocks/>
            <a:stCxn id="6" idx="6"/>
            <a:endCxn id="8" idx="2"/>
          </p:cNvCxnSpPr>
          <p:nvPr/>
        </p:nvCxnSpPr>
        <p:spPr>
          <a:xfrm>
            <a:off x="1386230" y="1646957"/>
            <a:ext cx="1482983" cy="0"/>
          </a:xfrm>
          <a:prstGeom prst="line">
            <a:avLst/>
          </a:prstGeom>
          <a:noFill/>
          <a:ln w="9525" cap="flat" cmpd="sng" algn="ctr">
            <a:solidFill>
              <a:srgbClr val="C6C6C6"/>
            </a:solidFill>
            <a:prstDash val="solid"/>
          </a:ln>
          <a:effectLst/>
        </p:spPr>
      </p:cxnSp>
      <p:sp>
        <p:nvSpPr>
          <p:cNvPr id="8" name="Shape2_20220517_163352">
            <a:extLst>
              <a:ext uri="{FF2B5EF4-FFF2-40B4-BE49-F238E27FC236}">
                <a16:creationId xmlns:a16="http://schemas.microsoft.com/office/drawing/2014/main" id="{CEE229C7-94E9-AE5B-D85F-AA7433CE2C6D}"/>
              </a:ext>
            </a:extLst>
          </p:cNvPr>
          <p:cNvSpPr>
            <a:spLocks noChangeAspect="1"/>
          </p:cNvSpPr>
          <p:nvPr/>
        </p:nvSpPr>
        <p:spPr>
          <a:xfrm>
            <a:off x="2869213" y="1401302"/>
            <a:ext cx="492809" cy="491309"/>
          </a:xfrm>
          <a:prstGeom prst="ellipse">
            <a:avLst/>
          </a:prstGeom>
          <a:noFill/>
          <a:ln w="9525" cap="flat" cmpd="sng" algn="ctr">
            <a:solidFill>
              <a:srgbClr val="C6C6C6"/>
            </a:solidFill>
            <a:prstDash val="solid"/>
          </a:ln>
          <a:effectLst/>
        </p:spPr>
        <p:txBody>
          <a:bodyPr rtlCol="0" anchor="ctr"/>
          <a:lstStyle/>
          <a:p>
            <a:pPr defTabSz="625570">
              <a:defRPr/>
            </a:pPr>
            <a:endParaRPr lang="en-US" sz="2400" dirty="0">
              <a:solidFill>
                <a:srgbClr val="005073"/>
              </a:solidFill>
            </a:endParaRPr>
          </a:p>
        </p:txBody>
      </p:sp>
      <p:sp>
        <p:nvSpPr>
          <p:cNvPr id="9" name="Shape1_20211020_182018">
            <a:extLst>
              <a:ext uri="{FF2B5EF4-FFF2-40B4-BE49-F238E27FC236}">
                <a16:creationId xmlns:a16="http://schemas.microsoft.com/office/drawing/2014/main" id="{26530910-EA32-6D78-937A-AC9CE1D99F63}"/>
              </a:ext>
            </a:extLst>
          </p:cNvPr>
          <p:cNvSpPr/>
          <p:nvPr/>
        </p:nvSpPr>
        <p:spPr>
          <a:xfrm>
            <a:off x="2942714" y="1474056"/>
            <a:ext cx="345800" cy="345800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F1201028-63D0-D64E-45F7-D482EE94CD8C}"/>
              </a:ext>
            </a:extLst>
          </p:cNvPr>
          <p:cNvSpPr>
            <a:spLocks/>
          </p:cNvSpPr>
          <p:nvPr/>
        </p:nvSpPr>
        <p:spPr bwMode="auto">
          <a:xfrm>
            <a:off x="2991064" y="1532351"/>
            <a:ext cx="249103" cy="229211"/>
          </a:xfrm>
          <a:custGeom>
            <a:avLst/>
            <a:gdLst>
              <a:gd name="T0" fmla="*/ 2218 w 2218"/>
              <a:gd name="T1" fmla="*/ 0 h 2050"/>
              <a:gd name="T2" fmla="*/ 2211 w 2218"/>
              <a:gd name="T3" fmla="*/ 84 h 2050"/>
              <a:gd name="T4" fmla="*/ 864 w 2218"/>
              <a:gd name="T5" fmla="*/ 1798 h 2050"/>
              <a:gd name="T6" fmla="*/ 520 w 2218"/>
              <a:gd name="T7" fmla="*/ 1882 h 2050"/>
              <a:gd name="T8" fmla="*/ 0 w 2218"/>
              <a:gd name="T9" fmla="*/ 1155 h 2050"/>
              <a:gd name="T10" fmla="*/ 329 w 2218"/>
              <a:gd name="T11" fmla="*/ 1017 h 2050"/>
              <a:gd name="T12" fmla="*/ 696 w 2218"/>
              <a:gd name="T13" fmla="*/ 1484 h 2050"/>
              <a:gd name="T14" fmla="*/ 2218 w 2218"/>
              <a:gd name="T15" fmla="*/ 0 h 20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218" h="2050">
                <a:moveTo>
                  <a:pt x="2218" y="0"/>
                </a:moveTo>
                <a:cubicBezTo>
                  <a:pt x="2211" y="84"/>
                  <a:pt x="2211" y="84"/>
                  <a:pt x="2211" y="84"/>
                </a:cubicBezTo>
                <a:cubicBezTo>
                  <a:pt x="1507" y="604"/>
                  <a:pt x="1132" y="1247"/>
                  <a:pt x="864" y="1798"/>
                </a:cubicBezTo>
                <a:cubicBezTo>
                  <a:pt x="704" y="1905"/>
                  <a:pt x="589" y="2050"/>
                  <a:pt x="520" y="1882"/>
                </a:cubicBezTo>
                <a:cubicBezTo>
                  <a:pt x="436" y="1660"/>
                  <a:pt x="252" y="1239"/>
                  <a:pt x="0" y="1155"/>
                </a:cubicBezTo>
                <a:cubicBezTo>
                  <a:pt x="107" y="1033"/>
                  <a:pt x="206" y="1002"/>
                  <a:pt x="329" y="1017"/>
                </a:cubicBezTo>
                <a:cubicBezTo>
                  <a:pt x="489" y="1040"/>
                  <a:pt x="635" y="1346"/>
                  <a:pt x="696" y="1484"/>
                </a:cubicBezTo>
                <a:cubicBezTo>
                  <a:pt x="1025" y="933"/>
                  <a:pt x="1629" y="306"/>
                  <a:pt x="221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5125" tIns="62563" rIns="125125" bIns="62563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/>
          </a:p>
        </p:txBody>
      </p:sp>
      <p:sp>
        <p:nvSpPr>
          <p:cNvPr id="11" name="Shape0_20211215_104047">
            <a:extLst>
              <a:ext uri="{FF2B5EF4-FFF2-40B4-BE49-F238E27FC236}">
                <a16:creationId xmlns:a16="http://schemas.microsoft.com/office/drawing/2014/main" id="{79269156-2A4E-321B-0885-819B8C78C9F5}"/>
              </a:ext>
            </a:extLst>
          </p:cNvPr>
          <p:cNvSpPr>
            <a:spLocks/>
          </p:cNvSpPr>
          <p:nvPr/>
        </p:nvSpPr>
        <p:spPr>
          <a:xfrm>
            <a:off x="3506634" y="1523846"/>
            <a:ext cx="7971446" cy="24622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4730" lvl="1" defTabSz="2666516">
              <a:spcBef>
                <a:spcPct val="20000"/>
              </a:spcBef>
              <a:buClr>
                <a:srgbClr val="44546A"/>
              </a:buClr>
              <a:buSzPct val="120000"/>
              <a:defRPr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4BE9EBD-5879-3962-7956-D94CC2742017}"/>
              </a:ext>
            </a:extLst>
          </p:cNvPr>
          <p:cNvSpPr/>
          <p:nvPr/>
        </p:nvSpPr>
        <p:spPr>
          <a:xfrm>
            <a:off x="2521351" y="2778849"/>
            <a:ext cx="115671" cy="112271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625570">
              <a:defRPr/>
            </a:pPr>
            <a:endParaRPr lang="en-US" sz="2400" dirty="0">
              <a:solidFill>
                <a:srgbClr val="005073"/>
              </a:solidFill>
            </a:endParaRPr>
          </a:p>
        </p:txBody>
      </p:sp>
      <p:cxnSp>
        <p:nvCxnSpPr>
          <p:cNvPr id="13" name="Shape3_20220517_163352">
            <a:extLst>
              <a:ext uri="{FF2B5EF4-FFF2-40B4-BE49-F238E27FC236}">
                <a16:creationId xmlns:a16="http://schemas.microsoft.com/office/drawing/2014/main" id="{1BE88B83-2D0A-4F11-F5DB-032E6028F41A}"/>
              </a:ext>
            </a:extLst>
          </p:cNvPr>
          <p:cNvCxnSpPr>
            <a:cxnSpLocks/>
            <a:stCxn id="12" idx="6"/>
            <a:endCxn id="14" idx="2"/>
          </p:cNvCxnSpPr>
          <p:nvPr/>
        </p:nvCxnSpPr>
        <p:spPr>
          <a:xfrm>
            <a:off x="2637021" y="2834984"/>
            <a:ext cx="232187" cy="2"/>
          </a:xfrm>
          <a:prstGeom prst="line">
            <a:avLst/>
          </a:prstGeom>
          <a:noFill/>
          <a:ln w="9525" cap="flat" cmpd="sng" algn="ctr">
            <a:solidFill>
              <a:srgbClr val="C6C6C6"/>
            </a:solidFill>
            <a:prstDash val="solid"/>
          </a:ln>
          <a:effectLst/>
        </p:spPr>
      </p:cxnSp>
      <p:sp>
        <p:nvSpPr>
          <p:cNvPr id="14" name="Shape4_20220517_163352">
            <a:extLst>
              <a:ext uri="{FF2B5EF4-FFF2-40B4-BE49-F238E27FC236}">
                <a16:creationId xmlns:a16="http://schemas.microsoft.com/office/drawing/2014/main" id="{5488A2FF-5F85-983D-A17D-44935D925317}"/>
              </a:ext>
            </a:extLst>
          </p:cNvPr>
          <p:cNvSpPr>
            <a:spLocks noChangeAspect="1"/>
          </p:cNvSpPr>
          <p:nvPr/>
        </p:nvSpPr>
        <p:spPr>
          <a:xfrm>
            <a:off x="2869209" y="2589331"/>
            <a:ext cx="492809" cy="491309"/>
          </a:xfrm>
          <a:prstGeom prst="ellipse">
            <a:avLst/>
          </a:prstGeom>
          <a:noFill/>
          <a:ln w="9525" cap="flat" cmpd="sng" algn="ctr">
            <a:solidFill>
              <a:srgbClr val="C6C6C6"/>
            </a:solidFill>
            <a:prstDash val="solid"/>
          </a:ln>
          <a:effectLst/>
        </p:spPr>
        <p:txBody>
          <a:bodyPr rtlCol="0" anchor="ctr"/>
          <a:lstStyle/>
          <a:p>
            <a:pPr defTabSz="625570">
              <a:defRPr/>
            </a:pPr>
            <a:endParaRPr lang="en-US" sz="2400" dirty="0">
              <a:solidFill>
                <a:srgbClr val="005073"/>
              </a:solidFill>
            </a:endParaRPr>
          </a:p>
        </p:txBody>
      </p:sp>
      <p:sp>
        <p:nvSpPr>
          <p:cNvPr id="15" name="Shape2_20211020_182018">
            <a:extLst>
              <a:ext uri="{FF2B5EF4-FFF2-40B4-BE49-F238E27FC236}">
                <a16:creationId xmlns:a16="http://schemas.microsoft.com/office/drawing/2014/main" id="{AE392260-B0A9-2C72-C8D2-50AE508FC669}"/>
              </a:ext>
            </a:extLst>
          </p:cNvPr>
          <p:cNvSpPr/>
          <p:nvPr/>
        </p:nvSpPr>
        <p:spPr>
          <a:xfrm>
            <a:off x="2942714" y="2662080"/>
            <a:ext cx="345800" cy="345800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6" name="Freeform 5">
            <a:extLst>
              <a:ext uri="{FF2B5EF4-FFF2-40B4-BE49-F238E27FC236}">
                <a16:creationId xmlns:a16="http://schemas.microsoft.com/office/drawing/2014/main" id="{A518261B-62EF-B92A-8B92-C085ABF8BAC4}"/>
              </a:ext>
            </a:extLst>
          </p:cNvPr>
          <p:cNvSpPr>
            <a:spLocks/>
          </p:cNvSpPr>
          <p:nvPr/>
        </p:nvSpPr>
        <p:spPr bwMode="auto">
          <a:xfrm>
            <a:off x="2991064" y="2720376"/>
            <a:ext cx="249103" cy="229211"/>
          </a:xfrm>
          <a:custGeom>
            <a:avLst/>
            <a:gdLst>
              <a:gd name="T0" fmla="*/ 2218 w 2218"/>
              <a:gd name="T1" fmla="*/ 0 h 2050"/>
              <a:gd name="T2" fmla="*/ 2211 w 2218"/>
              <a:gd name="T3" fmla="*/ 84 h 2050"/>
              <a:gd name="T4" fmla="*/ 864 w 2218"/>
              <a:gd name="T5" fmla="*/ 1798 h 2050"/>
              <a:gd name="T6" fmla="*/ 520 w 2218"/>
              <a:gd name="T7" fmla="*/ 1882 h 2050"/>
              <a:gd name="T8" fmla="*/ 0 w 2218"/>
              <a:gd name="T9" fmla="*/ 1155 h 2050"/>
              <a:gd name="T10" fmla="*/ 329 w 2218"/>
              <a:gd name="T11" fmla="*/ 1017 h 2050"/>
              <a:gd name="T12" fmla="*/ 696 w 2218"/>
              <a:gd name="T13" fmla="*/ 1484 h 2050"/>
              <a:gd name="T14" fmla="*/ 2218 w 2218"/>
              <a:gd name="T15" fmla="*/ 0 h 20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218" h="2050">
                <a:moveTo>
                  <a:pt x="2218" y="0"/>
                </a:moveTo>
                <a:cubicBezTo>
                  <a:pt x="2211" y="84"/>
                  <a:pt x="2211" y="84"/>
                  <a:pt x="2211" y="84"/>
                </a:cubicBezTo>
                <a:cubicBezTo>
                  <a:pt x="1507" y="604"/>
                  <a:pt x="1132" y="1247"/>
                  <a:pt x="864" y="1798"/>
                </a:cubicBezTo>
                <a:cubicBezTo>
                  <a:pt x="704" y="1905"/>
                  <a:pt x="589" y="2050"/>
                  <a:pt x="520" y="1882"/>
                </a:cubicBezTo>
                <a:cubicBezTo>
                  <a:pt x="436" y="1660"/>
                  <a:pt x="252" y="1239"/>
                  <a:pt x="0" y="1155"/>
                </a:cubicBezTo>
                <a:cubicBezTo>
                  <a:pt x="107" y="1033"/>
                  <a:pt x="206" y="1002"/>
                  <a:pt x="329" y="1017"/>
                </a:cubicBezTo>
                <a:cubicBezTo>
                  <a:pt x="489" y="1040"/>
                  <a:pt x="635" y="1346"/>
                  <a:pt x="696" y="1484"/>
                </a:cubicBezTo>
                <a:cubicBezTo>
                  <a:pt x="1025" y="933"/>
                  <a:pt x="1629" y="306"/>
                  <a:pt x="221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5125" tIns="62563" rIns="125125" bIns="62563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/>
          </a:p>
        </p:txBody>
      </p:sp>
      <p:sp>
        <p:nvSpPr>
          <p:cNvPr id="17" name="Shape1_20211215_104047">
            <a:extLst>
              <a:ext uri="{FF2B5EF4-FFF2-40B4-BE49-F238E27FC236}">
                <a16:creationId xmlns:a16="http://schemas.microsoft.com/office/drawing/2014/main" id="{474E536A-22F9-A3C9-DD8E-AECADD469B0F}"/>
              </a:ext>
            </a:extLst>
          </p:cNvPr>
          <p:cNvSpPr>
            <a:spLocks/>
          </p:cNvSpPr>
          <p:nvPr/>
        </p:nvSpPr>
        <p:spPr>
          <a:xfrm>
            <a:off x="3506634" y="2711873"/>
            <a:ext cx="7971446" cy="24622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4730" lvl="1" defTabSz="2666516">
              <a:spcBef>
                <a:spcPct val="20000"/>
              </a:spcBef>
              <a:buClr>
                <a:srgbClr val="44546A"/>
              </a:buClr>
              <a:buSzPct val="120000"/>
              <a:defRPr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06BF3C57-1543-C6CB-181E-2FFB1F662E3D}"/>
              </a:ext>
            </a:extLst>
          </p:cNvPr>
          <p:cNvSpPr/>
          <p:nvPr/>
        </p:nvSpPr>
        <p:spPr>
          <a:xfrm>
            <a:off x="2546438" y="3966875"/>
            <a:ext cx="115671" cy="112271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625570">
              <a:defRPr/>
            </a:pPr>
            <a:endParaRPr lang="en-US" sz="2400" dirty="0">
              <a:solidFill>
                <a:srgbClr val="005073"/>
              </a:solidFill>
            </a:endParaRPr>
          </a:p>
        </p:txBody>
      </p:sp>
      <p:cxnSp>
        <p:nvCxnSpPr>
          <p:cNvPr id="19" name="Shape7_20220517_163352">
            <a:extLst>
              <a:ext uri="{FF2B5EF4-FFF2-40B4-BE49-F238E27FC236}">
                <a16:creationId xmlns:a16="http://schemas.microsoft.com/office/drawing/2014/main" id="{D9C187FB-FE73-0852-7AD4-19FE8F9BDF9E}"/>
              </a:ext>
            </a:extLst>
          </p:cNvPr>
          <p:cNvCxnSpPr>
            <a:cxnSpLocks/>
            <a:stCxn id="18" idx="6"/>
            <a:endCxn id="20" idx="2"/>
          </p:cNvCxnSpPr>
          <p:nvPr/>
        </p:nvCxnSpPr>
        <p:spPr>
          <a:xfrm>
            <a:off x="2662108" y="4023011"/>
            <a:ext cx="207100" cy="4"/>
          </a:xfrm>
          <a:prstGeom prst="line">
            <a:avLst/>
          </a:prstGeom>
          <a:noFill/>
          <a:ln w="9525" cap="flat" cmpd="sng" algn="ctr">
            <a:solidFill>
              <a:srgbClr val="C6C6C6"/>
            </a:solidFill>
            <a:prstDash val="solid"/>
          </a:ln>
          <a:effectLst/>
        </p:spPr>
      </p:cxnSp>
      <p:sp>
        <p:nvSpPr>
          <p:cNvPr id="20" name="Shape8_20220517_163352">
            <a:extLst>
              <a:ext uri="{FF2B5EF4-FFF2-40B4-BE49-F238E27FC236}">
                <a16:creationId xmlns:a16="http://schemas.microsoft.com/office/drawing/2014/main" id="{53E5AA82-3A98-DAE2-8A45-88E0868363A8}"/>
              </a:ext>
            </a:extLst>
          </p:cNvPr>
          <p:cNvSpPr>
            <a:spLocks noChangeAspect="1"/>
          </p:cNvSpPr>
          <p:nvPr/>
        </p:nvSpPr>
        <p:spPr>
          <a:xfrm>
            <a:off x="2869209" y="3777360"/>
            <a:ext cx="492809" cy="491309"/>
          </a:xfrm>
          <a:prstGeom prst="ellipse">
            <a:avLst/>
          </a:prstGeom>
          <a:noFill/>
          <a:ln w="9525" cap="flat" cmpd="sng" algn="ctr">
            <a:solidFill>
              <a:srgbClr val="C6C6C6"/>
            </a:solidFill>
            <a:prstDash val="solid"/>
          </a:ln>
          <a:effectLst/>
        </p:spPr>
        <p:txBody>
          <a:bodyPr rtlCol="0" anchor="ctr"/>
          <a:lstStyle/>
          <a:p>
            <a:pPr defTabSz="625570">
              <a:defRPr/>
            </a:pPr>
            <a:endParaRPr lang="en-US" sz="2400" dirty="0">
              <a:solidFill>
                <a:srgbClr val="005073"/>
              </a:solidFill>
            </a:endParaRPr>
          </a:p>
        </p:txBody>
      </p:sp>
      <p:sp>
        <p:nvSpPr>
          <p:cNvPr id="21" name="Shape4_20211020_182018">
            <a:extLst>
              <a:ext uri="{FF2B5EF4-FFF2-40B4-BE49-F238E27FC236}">
                <a16:creationId xmlns:a16="http://schemas.microsoft.com/office/drawing/2014/main" id="{BE6AEB63-ECD3-1776-80EC-FA5D801443A2}"/>
              </a:ext>
            </a:extLst>
          </p:cNvPr>
          <p:cNvSpPr/>
          <p:nvPr/>
        </p:nvSpPr>
        <p:spPr>
          <a:xfrm>
            <a:off x="2942714" y="3850108"/>
            <a:ext cx="345800" cy="345800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2" name="Freeform 5">
            <a:extLst>
              <a:ext uri="{FF2B5EF4-FFF2-40B4-BE49-F238E27FC236}">
                <a16:creationId xmlns:a16="http://schemas.microsoft.com/office/drawing/2014/main" id="{2B0F5BAA-0753-1E03-A683-BCFC8DBC5B8A}"/>
              </a:ext>
            </a:extLst>
          </p:cNvPr>
          <p:cNvSpPr>
            <a:spLocks/>
          </p:cNvSpPr>
          <p:nvPr/>
        </p:nvSpPr>
        <p:spPr bwMode="auto">
          <a:xfrm>
            <a:off x="2991064" y="3908403"/>
            <a:ext cx="249103" cy="229211"/>
          </a:xfrm>
          <a:custGeom>
            <a:avLst/>
            <a:gdLst>
              <a:gd name="T0" fmla="*/ 2218 w 2218"/>
              <a:gd name="T1" fmla="*/ 0 h 2050"/>
              <a:gd name="T2" fmla="*/ 2211 w 2218"/>
              <a:gd name="T3" fmla="*/ 84 h 2050"/>
              <a:gd name="T4" fmla="*/ 864 w 2218"/>
              <a:gd name="T5" fmla="*/ 1798 h 2050"/>
              <a:gd name="T6" fmla="*/ 520 w 2218"/>
              <a:gd name="T7" fmla="*/ 1882 h 2050"/>
              <a:gd name="T8" fmla="*/ 0 w 2218"/>
              <a:gd name="T9" fmla="*/ 1155 h 2050"/>
              <a:gd name="T10" fmla="*/ 329 w 2218"/>
              <a:gd name="T11" fmla="*/ 1017 h 2050"/>
              <a:gd name="T12" fmla="*/ 696 w 2218"/>
              <a:gd name="T13" fmla="*/ 1484 h 2050"/>
              <a:gd name="T14" fmla="*/ 2218 w 2218"/>
              <a:gd name="T15" fmla="*/ 0 h 20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218" h="2050">
                <a:moveTo>
                  <a:pt x="2218" y="0"/>
                </a:moveTo>
                <a:cubicBezTo>
                  <a:pt x="2211" y="84"/>
                  <a:pt x="2211" y="84"/>
                  <a:pt x="2211" y="84"/>
                </a:cubicBezTo>
                <a:cubicBezTo>
                  <a:pt x="1507" y="604"/>
                  <a:pt x="1132" y="1247"/>
                  <a:pt x="864" y="1798"/>
                </a:cubicBezTo>
                <a:cubicBezTo>
                  <a:pt x="704" y="1905"/>
                  <a:pt x="589" y="2050"/>
                  <a:pt x="520" y="1882"/>
                </a:cubicBezTo>
                <a:cubicBezTo>
                  <a:pt x="436" y="1660"/>
                  <a:pt x="252" y="1239"/>
                  <a:pt x="0" y="1155"/>
                </a:cubicBezTo>
                <a:cubicBezTo>
                  <a:pt x="107" y="1033"/>
                  <a:pt x="206" y="1002"/>
                  <a:pt x="329" y="1017"/>
                </a:cubicBezTo>
                <a:cubicBezTo>
                  <a:pt x="489" y="1040"/>
                  <a:pt x="635" y="1346"/>
                  <a:pt x="696" y="1484"/>
                </a:cubicBezTo>
                <a:cubicBezTo>
                  <a:pt x="1025" y="933"/>
                  <a:pt x="1629" y="306"/>
                  <a:pt x="221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5125" tIns="62563" rIns="125125" bIns="62563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/>
          </a:p>
        </p:txBody>
      </p:sp>
      <p:sp>
        <p:nvSpPr>
          <p:cNvPr id="23" name="Shape3_20211215_104047">
            <a:extLst>
              <a:ext uri="{FF2B5EF4-FFF2-40B4-BE49-F238E27FC236}">
                <a16:creationId xmlns:a16="http://schemas.microsoft.com/office/drawing/2014/main" id="{902F2CC4-27D8-34AE-83D4-4B9A83F6AD4C}"/>
              </a:ext>
            </a:extLst>
          </p:cNvPr>
          <p:cNvSpPr>
            <a:spLocks/>
          </p:cNvSpPr>
          <p:nvPr/>
        </p:nvSpPr>
        <p:spPr>
          <a:xfrm>
            <a:off x="3506634" y="3899898"/>
            <a:ext cx="7971446" cy="24622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4730" lvl="1" defTabSz="2666516">
              <a:spcBef>
                <a:spcPct val="20000"/>
              </a:spcBef>
              <a:buClr>
                <a:srgbClr val="44546A"/>
              </a:buClr>
              <a:buSzPct val="120000"/>
              <a:defRPr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45E57C5E-C56F-E0CA-AA07-30918EC4517D}"/>
              </a:ext>
            </a:extLst>
          </p:cNvPr>
          <p:cNvSpPr/>
          <p:nvPr/>
        </p:nvSpPr>
        <p:spPr>
          <a:xfrm>
            <a:off x="1526169" y="5154902"/>
            <a:ext cx="115671" cy="112271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625570">
              <a:defRPr/>
            </a:pPr>
            <a:endParaRPr lang="en-US" sz="2400" dirty="0">
              <a:solidFill>
                <a:srgbClr val="005073"/>
              </a:solidFill>
            </a:endParaRPr>
          </a:p>
        </p:txBody>
      </p:sp>
      <p:cxnSp>
        <p:nvCxnSpPr>
          <p:cNvPr id="25" name="Shape9_20220517_163352">
            <a:extLst>
              <a:ext uri="{FF2B5EF4-FFF2-40B4-BE49-F238E27FC236}">
                <a16:creationId xmlns:a16="http://schemas.microsoft.com/office/drawing/2014/main" id="{563D3600-BE52-9C7B-975B-3F1CE26B6B22}"/>
              </a:ext>
            </a:extLst>
          </p:cNvPr>
          <p:cNvCxnSpPr>
            <a:cxnSpLocks/>
            <a:stCxn id="24" idx="6"/>
            <a:endCxn id="26" idx="2"/>
          </p:cNvCxnSpPr>
          <p:nvPr/>
        </p:nvCxnSpPr>
        <p:spPr>
          <a:xfrm>
            <a:off x="1641839" y="5211037"/>
            <a:ext cx="1227369" cy="7"/>
          </a:xfrm>
          <a:prstGeom prst="line">
            <a:avLst/>
          </a:prstGeom>
          <a:noFill/>
          <a:ln w="9525" cap="flat" cmpd="sng" algn="ctr">
            <a:solidFill>
              <a:srgbClr val="C6C6C6"/>
            </a:solidFill>
            <a:prstDash val="solid"/>
          </a:ln>
          <a:effectLst/>
        </p:spPr>
      </p:cxnSp>
      <p:sp>
        <p:nvSpPr>
          <p:cNvPr id="26" name="Shape10_20220517_163352">
            <a:extLst>
              <a:ext uri="{FF2B5EF4-FFF2-40B4-BE49-F238E27FC236}">
                <a16:creationId xmlns:a16="http://schemas.microsoft.com/office/drawing/2014/main" id="{F43080B6-EBFC-955A-6907-C63291757C24}"/>
              </a:ext>
            </a:extLst>
          </p:cNvPr>
          <p:cNvSpPr>
            <a:spLocks noChangeAspect="1"/>
          </p:cNvSpPr>
          <p:nvPr/>
        </p:nvSpPr>
        <p:spPr>
          <a:xfrm>
            <a:off x="2869209" y="4965389"/>
            <a:ext cx="492809" cy="491309"/>
          </a:xfrm>
          <a:prstGeom prst="ellipse">
            <a:avLst/>
          </a:prstGeom>
          <a:noFill/>
          <a:ln w="9525" cap="flat" cmpd="sng" algn="ctr">
            <a:solidFill>
              <a:srgbClr val="C6C6C6"/>
            </a:solidFill>
            <a:prstDash val="solid"/>
          </a:ln>
          <a:effectLst/>
        </p:spPr>
        <p:txBody>
          <a:bodyPr rtlCol="0" anchor="ctr"/>
          <a:lstStyle/>
          <a:p>
            <a:pPr defTabSz="625570">
              <a:defRPr/>
            </a:pPr>
            <a:endParaRPr lang="en-US" sz="2400" dirty="0">
              <a:solidFill>
                <a:srgbClr val="005073"/>
              </a:solidFill>
            </a:endParaRPr>
          </a:p>
        </p:txBody>
      </p:sp>
      <p:sp>
        <p:nvSpPr>
          <p:cNvPr id="27" name="Shape0_20211020_182018">
            <a:extLst>
              <a:ext uri="{FF2B5EF4-FFF2-40B4-BE49-F238E27FC236}">
                <a16:creationId xmlns:a16="http://schemas.microsoft.com/office/drawing/2014/main" id="{02E1AE4A-1ACB-558E-0DF5-5FEA97E1FAC3}"/>
              </a:ext>
            </a:extLst>
          </p:cNvPr>
          <p:cNvSpPr/>
          <p:nvPr/>
        </p:nvSpPr>
        <p:spPr>
          <a:xfrm>
            <a:off x="2942714" y="5038133"/>
            <a:ext cx="345800" cy="345800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8" name="Freeform 5">
            <a:extLst>
              <a:ext uri="{FF2B5EF4-FFF2-40B4-BE49-F238E27FC236}">
                <a16:creationId xmlns:a16="http://schemas.microsoft.com/office/drawing/2014/main" id="{DA2B5977-AC51-5993-3CFE-DFBAAB6723D6}"/>
              </a:ext>
            </a:extLst>
          </p:cNvPr>
          <p:cNvSpPr>
            <a:spLocks/>
          </p:cNvSpPr>
          <p:nvPr/>
        </p:nvSpPr>
        <p:spPr bwMode="auto">
          <a:xfrm>
            <a:off x="2991064" y="5096431"/>
            <a:ext cx="249103" cy="229211"/>
          </a:xfrm>
          <a:custGeom>
            <a:avLst/>
            <a:gdLst>
              <a:gd name="T0" fmla="*/ 2218 w 2218"/>
              <a:gd name="T1" fmla="*/ 0 h 2050"/>
              <a:gd name="T2" fmla="*/ 2211 w 2218"/>
              <a:gd name="T3" fmla="*/ 84 h 2050"/>
              <a:gd name="T4" fmla="*/ 864 w 2218"/>
              <a:gd name="T5" fmla="*/ 1798 h 2050"/>
              <a:gd name="T6" fmla="*/ 520 w 2218"/>
              <a:gd name="T7" fmla="*/ 1882 h 2050"/>
              <a:gd name="T8" fmla="*/ 0 w 2218"/>
              <a:gd name="T9" fmla="*/ 1155 h 2050"/>
              <a:gd name="T10" fmla="*/ 329 w 2218"/>
              <a:gd name="T11" fmla="*/ 1017 h 2050"/>
              <a:gd name="T12" fmla="*/ 696 w 2218"/>
              <a:gd name="T13" fmla="*/ 1484 h 2050"/>
              <a:gd name="T14" fmla="*/ 2218 w 2218"/>
              <a:gd name="T15" fmla="*/ 0 h 20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218" h="2050">
                <a:moveTo>
                  <a:pt x="2218" y="0"/>
                </a:moveTo>
                <a:cubicBezTo>
                  <a:pt x="2211" y="84"/>
                  <a:pt x="2211" y="84"/>
                  <a:pt x="2211" y="84"/>
                </a:cubicBezTo>
                <a:cubicBezTo>
                  <a:pt x="1507" y="604"/>
                  <a:pt x="1132" y="1247"/>
                  <a:pt x="864" y="1798"/>
                </a:cubicBezTo>
                <a:cubicBezTo>
                  <a:pt x="704" y="1905"/>
                  <a:pt x="589" y="2050"/>
                  <a:pt x="520" y="1882"/>
                </a:cubicBezTo>
                <a:cubicBezTo>
                  <a:pt x="436" y="1660"/>
                  <a:pt x="252" y="1239"/>
                  <a:pt x="0" y="1155"/>
                </a:cubicBezTo>
                <a:cubicBezTo>
                  <a:pt x="107" y="1033"/>
                  <a:pt x="206" y="1002"/>
                  <a:pt x="329" y="1017"/>
                </a:cubicBezTo>
                <a:cubicBezTo>
                  <a:pt x="489" y="1040"/>
                  <a:pt x="635" y="1346"/>
                  <a:pt x="696" y="1484"/>
                </a:cubicBezTo>
                <a:cubicBezTo>
                  <a:pt x="1025" y="933"/>
                  <a:pt x="1629" y="306"/>
                  <a:pt x="221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5125" tIns="62563" rIns="125125" bIns="62563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/>
          </a:p>
        </p:txBody>
      </p:sp>
      <p:sp>
        <p:nvSpPr>
          <p:cNvPr id="29" name="Shape4_20211215_104047">
            <a:extLst>
              <a:ext uri="{FF2B5EF4-FFF2-40B4-BE49-F238E27FC236}">
                <a16:creationId xmlns:a16="http://schemas.microsoft.com/office/drawing/2014/main" id="{F4D976C6-DE92-2A82-BCC1-016BBB42086F}"/>
              </a:ext>
            </a:extLst>
          </p:cNvPr>
          <p:cNvSpPr>
            <a:spLocks/>
          </p:cNvSpPr>
          <p:nvPr/>
        </p:nvSpPr>
        <p:spPr>
          <a:xfrm>
            <a:off x="3506634" y="5087927"/>
            <a:ext cx="7971446" cy="24622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4730" lvl="1" defTabSz="2666516">
              <a:spcBef>
                <a:spcPct val="20000"/>
              </a:spcBef>
              <a:buClr>
                <a:srgbClr val="44546A"/>
              </a:buClr>
              <a:buSzPct val="120000"/>
              <a:defRPr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cxnSp>
        <p:nvCxnSpPr>
          <p:cNvPr id="30" name="Shape2_20220715_102623">
            <a:extLst>
              <a:ext uri="{FF2B5EF4-FFF2-40B4-BE49-F238E27FC236}">
                <a16:creationId xmlns:a16="http://schemas.microsoft.com/office/drawing/2014/main" id="{09DB5024-B7C1-69B0-CF26-60790B6512D6}"/>
              </a:ext>
            </a:extLst>
          </p:cNvPr>
          <p:cNvCxnSpPr>
            <a:cxnSpLocks/>
          </p:cNvCxnSpPr>
          <p:nvPr/>
        </p:nvCxnSpPr>
        <p:spPr>
          <a:xfrm>
            <a:off x="3506634" y="4617029"/>
            <a:ext cx="7961969" cy="0"/>
          </a:xfrm>
          <a:prstGeom prst="line">
            <a:avLst/>
          </a:prstGeom>
          <a:noFill/>
          <a:ln w="12700" cap="flat" cmpd="sng" algn="ctr">
            <a:solidFill>
              <a:srgbClr val="C6C6C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hape3_20220715_102623">
            <a:extLst>
              <a:ext uri="{FF2B5EF4-FFF2-40B4-BE49-F238E27FC236}">
                <a16:creationId xmlns:a16="http://schemas.microsoft.com/office/drawing/2014/main" id="{74C77369-CB0E-8C82-94B4-A893E703C983}"/>
              </a:ext>
            </a:extLst>
          </p:cNvPr>
          <p:cNvCxnSpPr>
            <a:cxnSpLocks/>
          </p:cNvCxnSpPr>
          <p:nvPr/>
        </p:nvCxnSpPr>
        <p:spPr>
          <a:xfrm>
            <a:off x="3506634" y="2240971"/>
            <a:ext cx="7961969" cy="0"/>
          </a:xfrm>
          <a:prstGeom prst="line">
            <a:avLst/>
          </a:prstGeom>
          <a:noFill/>
          <a:ln w="12700" cap="flat" cmpd="sng" algn="ctr">
            <a:solidFill>
              <a:srgbClr val="C6C6C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hape4_20220715_102623">
            <a:extLst>
              <a:ext uri="{FF2B5EF4-FFF2-40B4-BE49-F238E27FC236}">
                <a16:creationId xmlns:a16="http://schemas.microsoft.com/office/drawing/2014/main" id="{0F919C52-3DC5-2258-F72C-04D41891C679}"/>
              </a:ext>
            </a:extLst>
          </p:cNvPr>
          <p:cNvCxnSpPr>
            <a:cxnSpLocks/>
          </p:cNvCxnSpPr>
          <p:nvPr/>
        </p:nvCxnSpPr>
        <p:spPr>
          <a:xfrm>
            <a:off x="3506634" y="3429000"/>
            <a:ext cx="7961969" cy="0"/>
          </a:xfrm>
          <a:prstGeom prst="line">
            <a:avLst/>
          </a:prstGeom>
          <a:noFill/>
          <a:ln w="12700" cap="flat" cmpd="sng" algn="ctr">
            <a:solidFill>
              <a:srgbClr val="C6C6C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8A01E4A5-6939-6777-676F-E18F0D138B06}"/>
              </a:ext>
            </a:extLst>
          </p:cNvPr>
          <p:cNvSpPr/>
          <p:nvPr/>
        </p:nvSpPr>
        <p:spPr>
          <a:xfrm>
            <a:off x="661479" y="3319395"/>
            <a:ext cx="1453340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 defTabSz="625570">
              <a:defRPr/>
            </a:pPr>
            <a:r>
              <a:rPr lang="en-US" b="1" dirty="0">
                <a:solidFill>
                  <a:srgbClr val="FFFFFF"/>
                </a:solidFill>
                <a:ea typeface="ＭＳ Ｐゴシック" charset="0"/>
                <a:cs typeface="Arial" panose="020B0604020202020204" pitchFamily="34" charset="0"/>
              </a:rPr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8372274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83</TotalTime>
  <Words>15</Words>
  <Application>Microsoft Office PowerPoint</Application>
  <PresentationFormat>Widescreen</PresentationFormat>
  <Paragraphs>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ＭＳ Ｐゴシック</vt:lpstr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Checklist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406</cp:revision>
  <dcterms:created xsi:type="dcterms:W3CDTF">2021-03-31T02:49:57Z</dcterms:created>
  <dcterms:modified xsi:type="dcterms:W3CDTF">2025-10-16T10:44:42Z</dcterms:modified>
  <cp:category/>
</cp:coreProperties>
</file>